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D428B9-A6FB-4AE1-9E17-165E06B1D93B}" v="11" dt="2024-09-04T03:30:52.2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Dhruw, Kabir SBOBNG-PTIV/LC" userId="b937d6d8-898d-4cbe-9fd6-c82dbbaafd5f" providerId="ADAL" clId="{7CD428B9-A6FB-4AE1-9E17-165E06B1D93B}"/>
    <pc:docChg chg="modSld">
      <pc:chgData name="Dhruw, Kabir SBOBNG-PTIV/LC" userId="b937d6d8-898d-4cbe-9fd6-c82dbbaafd5f" providerId="ADAL" clId="{7CD428B9-A6FB-4AE1-9E17-165E06B1D93B}" dt="2024-09-04T03:30:59.021" v="66" actId="27614"/>
      <pc:docMkLst>
        <pc:docMk/>
      </pc:docMkLst>
      <pc:sldChg chg="addSp modSp mod">
        <pc:chgData name="Dhruw, Kabir SBOBNG-PTIV/LC" userId="b937d6d8-898d-4cbe-9fd6-c82dbbaafd5f" providerId="ADAL" clId="{7CD428B9-A6FB-4AE1-9E17-165E06B1D93B}" dt="2024-09-04T03:25:12.993" v="39" actId="27614"/>
        <pc:sldMkLst>
          <pc:docMk/>
          <pc:sldMk cId="867832184" sldId="2147375589"/>
        </pc:sldMkLst>
        <pc:spChg chg="mod">
          <ac:chgData name="Dhruw, Kabir SBOBNG-PTIV/LC" userId="b937d6d8-898d-4cbe-9fd6-c82dbbaafd5f" providerId="ADAL" clId="{7CD428B9-A6FB-4AE1-9E17-165E06B1D93B}" dt="2024-09-04T03:24:57.705" v="36" actId="20577"/>
          <ac:spMkLst>
            <pc:docMk/>
            <pc:sldMk cId="867832184" sldId="2147375589"/>
            <ac:spMk id="11" creationId="{CE0DDF5F-FE47-F9A2-FE84-53B63DFF494D}"/>
          </ac:spMkLst>
        </pc:spChg>
        <pc:picChg chg="add mod">
          <ac:chgData name="Dhruw, Kabir SBOBNG-PTIV/LC" userId="b937d6d8-898d-4cbe-9fd6-c82dbbaafd5f" providerId="ADAL" clId="{7CD428B9-A6FB-4AE1-9E17-165E06B1D93B}" dt="2024-09-04T03:25:12.993" v="39" actId="27614"/>
          <ac:picMkLst>
            <pc:docMk/>
            <pc:sldMk cId="867832184" sldId="2147375589"/>
            <ac:picMk id="6" creationId="{4A3D4E05-3D4B-8744-B7E9-1D94B9A47855}"/>
          </ac:picMkLst>
        </pc:picChg>
      </pc:sldChg>
      <pc:sldChg chg="addSp modSp mod">
        <pc:chgData name="Dhruw, Kabir SBOBNG-PTIV/LC" userId="b937d6d8-898d-4cbe-9fd6-c82dbbaafd5f" providerId="ADAL" clId="{7CD428B9-A6FB-4AE1-9E17-165E06B1D93B}" dt="2024-08-31T06:13:54.287" v="7" actId="14100"/>
        <pc:sldMkLst>
          <pc:docMk/>
          <pc:sldMk cId="245881457" sldId="2147375597"/>
        </pc:sldMkLst>
        <pc:spChg chg="mod">
          <ac:chgData name="Dhruw, Kabir SBOBNG-PTIV/LC" userId="b937d6d8-898d-4cbe-9fd6-c82dbbaafd5f" providerId="ADAL" clId="{7CD428B9-A6FB-4AE1-9E17-165E06B1D93B}" dt="2024-08-31T06:13:33.366" v="1" actId="20577"/>
          <ac:spMkLst>
            <pc:docMk/>
            <pc:sldMk cId="245881457" sldId="2147375597"/>
            <ac:spMk id="12" creationId="{E53E5C3F-4D2B-B85F-E592-E58E032C664C}"/>
          </ac:spMkLst>
        </pc:spChg>
        <pc:picChg chg="add mod">
          <ac:chgData name="Dhruw, Kabir SBOBNG-PTIV/LC" userId="b937d6d8-898d-4cbe-9fd6-c82dbbaafd5f" providerId="ADAL" clId="{7CD428B9-A6FB-4AE1-9E17-165E06B1D93B}" dt="2024-08-31T06:13:54.287" v="7" actId="14100"/>
          <ac:picMkLst>
            <pc:docMk/>
            <pc:sldMk cId="245881457" sldId="2147375597"/>
            <ac:picMk id="5" creationId="{6858F8FC-974D-5DF8-44AE-06F9793C8BDE}"/>
          </ac:picMkLst>
        </pc:picChg>
      </pc:sldChg>
      <pc:sldChg chg="addSp modSp mod">
        <pc:chgData name="Dhruw, Kabir SBOBNG-PTIV/LC" userId="b937d6d8-898d-4cbe-9fd6-c82dbbaafd5f" providerId="ADAL" clId="{7CD428B9-A6FB-4AE1-9E17-165E06B1D93B}" dt="2024-08-31T06:14:29.933" v="14" actId="962"/>
        <pc:sldMkLst>
          <pc:docMk/>
          <pc:sldMk cId="1181112711" sldId="2147375600"/>
        </pc:sldMkLst>
        <pc:spChg chg="mod">
          <ac:chgData name="Dhruw, Kabir SBOBNG-PTIV/LC" userId="b937d6d8-898d-4cbe-9fd6-c82dbbaafd5f" providerId="ADAL" clId="{7CD428B9-A6FB-4AE1-9E17-165E06B1D93B}" dt="2024-08-31T06:13:59.993" v="9" actId="20577"/>
          <ac:spMkLst>
            <pc:docMk/>
            <pc:sldMk cId="1181112711" sldId="2147375600"/>
            <ac:spMk id="12" creationId="{E53E5C3F-4D2B-B85F-E592-E58E032C664C}"/>
          </ac:spMkLst>
        </pc:spChg>
        <pc:picChg chg="add mod">
          <ac:chgData name="Dhruw, Kabir SBOBNG-PTIV/LC" userId="b937d6d8-898d-4cbe-9fd6-c82dbbaafd5f" providerId="ADAL" clId="{7CD428B9-A6FB-4AE1-9E17-165E06B1D93B}" dt="2024-08-31T06:14:29.933" v="14" actId="962"/>
          <ac:picMkLst>
            <pc:docMk/>
            <pc:sldMk cId="1181112711" sldId="2147375600"/>
            <ac:picMk id="5" creationId="{BE907506-5494-B495-E60C-0D93B4CAB467}"/>
          </ac:picMkLst>
        </pc:picChg>
      </pc:sldChg>
      <pc:sldChg chg="addSp modSp mod">
        <pc:chgData name="Dhruw, Kabir SBOBNG-PTIV/LC" userId="b937d6d8-898d-4cbe-9fd6-c82dbbaafd5f" providerId="ADAL" clId="{7CD428B9-A6FB-4AE1-9E17-165E06B1D93B}" dt="2024-08-31T06:15:07.289" v="22" actId="14100"/>
        <pc:sldMkLst>
          <pc:docMk/>
          <pc:sldMk cId="3233747587" sldId="2147375601"/>
        </pc:sldMkLst>
        <pc:spChg chg="mod">
          <ac:chgData name="Dhruw, Kabir SBOBNG-PTIV/LC" userId="b937d6d8-898d-4cbe-9fd6-c82dbbaafd5f" providerId="ADAL" clId="{7CD428B9-A6FB-4AE1-9E17-165E06B1D93B}" dt="2024-08-31T06:14:52.317" v="16" actId="20577"/>
          <ac:spMkLst>
            <pc:docMk/>
            <pc:sldMk cId="3233747587" sldId="2147375601"/>
            <ac:spMk id="12" creationId="{E53E5C3F-4D2B-B85F-E592-E58E032C664C}"/>
          </ac:spMkLst>
        </pc:spChg>
        <pc:picChg chg="add mod">
          <ac:chgData name="Dhruw, Kabir SBOBNG-PTIV/LC" userId="b937d6d8-898d-4cbe-9fd6-c82dbbaafd5f" providerId="ADAL" clId="{7CD428B9-A6FB-4AE1-9E17-165E06B1D93B}" dt="2024-08-31T06:15:07.289" v="22" actId="14100"/>
          <ac:picMkLst>
            <pc:docMk/>
            <pc:sldMk cId="3233747587" sldId="2147375601"/>
            <ac:picMk id="5" creationId="{F3493A1B-AE08-0EDA-1ABE-21F31FEB06E8}"/>
          </ac:picMkLst>
        </pc:picChg>
      </pc:sldChg>
      <pc:sldChg chg="addSp modSp mod">
        <pc:chgData name="Dhruw, Kabir SBOBNG-PTIV/LC" userId="b937d6d8-898d-4cbe-9fd6-c82dbbaafd5f" providerId="ADAL" clId="{7CD428B9-A6FB-4AE1-9E17-165E06B1D93B}" dt="2024-08-31T06:17:04.121" v="35" actId="962"/>
        <pc:sldMkLst>
          <pc:docMk/>
          <pc:sldMk cId="3971512377" sldId="2147375603"/>
        </pc:sldMkLst>
        <pc:spChg chg="mod">
          <ac:chgData name="Dhruw, Kabir SBOBNG-PTIV/LC" userId="b937d6d8-898d-4cbe-9fd6-c82dbbaafd5f" providerId="ADAL" clId="{7CD428B9-A6FB-4AE1-9E17-165E06B1D93B}" dt="2024-08-31T06:16:30.577" v="30" actId="20577"/>
          <ac:spMkLst>
            <pc:docMk/>
            <pc:sldMk cId="3971512377" sldId="2147375603"/>
            <ac:spMk id="12" creationId="{E53E5C3F-4D2B-B85F-E592-E58E032C664C}"/>
          </ac:spMkLst>
        </pc:spChg>
        <pc:picChg chg="add mod">
          <ac:chgData name="Dhruw, Kabir SBOBNG-PTIV/LC" userId="b937d6d8-898d-4cbe-9fd6-c82dbbaafd5f" providerId="ADAL" clId="{7CD428B9-A6FB-4AE1-9E17-165E06B1D93B}" dt="2024-08-31T06:17:04.121" v="35" actId="962"/>
          <ac:picMkLst>
            <pc:docMk/>
            <pc:sldMk cId="3971512377" sldId="2147375603"/>
            <ac:picMk id="6" creationId="{1CE31728-1DAF-DAD1-0C8D-B93E9FB13EA8}"/>
          </ac:picMkLst>
        </pc:picChg>
      </pc:sldChg>
      <pc:sldChg chg="addSp modSp mod">
        <pc:chgData name="Dhruw, Kabir SBOBNG-PTIV/LC" userId="b937d6d8-898d-4cbe-9fd6-c82dbbaafd5f" providerId="ADAL" clId="{7CD428B9-A6FB-4AE1-9E17-165E06B1D93B}" dt="2024-09-04T03:26:26.232" v="47" actId="1076"/>
        <pc:sldMkLst>
          <pc:docMk/>
          <pc:sldMk cId="3179805674" sldId="2147375604"/>
        </pc:sldMkLst>
        <pc:spChg chg="mod">
          <ac:chgData name="Dhruw, Kabir SBOBNG-PTIV/LC" userId="b937d6d8-898d-4cbe-9fd6-c82dbbaafd5f" providerId="ADAL" clId="{7CD428B9-A6FB-4AE1-9E17-165E06B1D93B}" dt="2024-09-04T03:26:08.748" v="40" actId="20577"/>
          <ac:spMkLst>
            <pc:docMk/>
            <pc:sldMk cId="3179805674" sldId="2147375604"/>
            <ac:spMk id="12" creationId="{E53E5C3F-4D2B-B85F-E592-E58E032C664C}"/>
          </ac:spMkLst>
        </pc:spChg>
        <pc:picChg chg="add mod">
          <ac:chgData name="Dhruw, Kabir SBOBNG-PTIV/LC" userId="b937d6d8-898d-4cbe-9fd6-c82dbbaafd5f" providerId="ADAL" clId="{7CD428B9-A6FB-4AE1-9E17-165E06B1D93B}" dt="2024-09-04T03:26:26.232" v="47" actId="1076"/>
          <ac:picMkLst>
            <pc:docMk/>
            <pc:sldMk cId="3179805674" sldId="2147375604"/>
            <ac:picMk id="6" creationId="{29E78300-98C3-E163-6145-FB5C9F74B18B}"/>
          </ac:picMkLst>
        </pc:picChg>
      </pc:sldChg>
      <pc:sldChg chg="addSp modSp mod">
        <pc:chgData name="Dhruw, Kabir SBOBNG-PTIV/LC" userId="b937d6d8-898d-4cbe-9fd6-c82dbbaafd5f" providerId="ADAL" clId="{7CD428B9-A6FB-4AE1-9E17-165E06B1D93B}" dt="2024-09-04T03:27:08.456" v="51" actId="27614"/>
        <pc:sldMkLst>
          <pc:docMk/>
          <pc:sldMk cId="86366928" sldId="2147375605"/>
        </pc:sldMkLst>
        <pc:spChg chg="mod">
          <ac:chgData name="Dhruw, Kabir SBOBNG-PTIV/LC" userId="b937d6d8-898d-4cbe-9fd6-c82dbbaafd5f" providerId="ADAL" clId="{7CD428B9-A6FB-4AE1-9E17-165E06B1D93B}" dt="2024-09-04T03:26:32.103" v="48" actId="20577"/>
          <ac:spMkLst>
            <pc:docMk/>
            <pc:sldMk cId="86366928" sldId="2147375605"/>
            <ac:spMk id="12" creationId="{E53E5C3F-4D2B-B85F-E592-E58E032C664C}"/>
          </ac:spMkLst>
        </pc:spChg>
        <pc:picChg chg="add mod">
          <ac:chgData name="Dhruw, Kabir SBOBNG-PTIV/LC" userId="b937d6d8-898d-4cbe-9fd6-c82dbbaafd5f" providerId="ADAL" clId="{7CD428B9-A6FB-4AE1-9E17-165E06B1D93B}" dt="2024-09-04T03:27:08.456" v="51" actId="27614"/>
          <ac:picMkLst>
            <pc:docMk/>
            <pc:sldMk cId="86366928" sldId="2147375605"/>
            <ac:picMk id="6" creationId="{D312A917-7B74-8A70-0956-E55184C9B353}"/>
          </ac:picMkLst>
        </pc:picChg>
      </pc:sldChg>
      <pc:sldChg chg="addSp modSp mod">
        <pc:chgData name="Dhruw, Kabir SBOBNG-PTIV/LC" userId="b937d6d8-898d-4cbe-9fd6-c82dbbaafd5f" providerId="ADAL" clId="{7CD428B9-A6FB-4AE1-9E17-165E06B1D93B}" dt="2024-09-04T03:28:00.794" v="57" actId="962"/>
        <pc:sldMkLst>
          <pc:docMk/>
          <pc:sldMk cId="2340944189" sldId="2147375607"/>
        </pc:sldMkLst>
        <pc:spChg chg="mod">
          <ac:chgData name="Dhruw, Kabir SBOBNG-PTIV/LC" userId="b937d6d8-898d-4cbe-9fd6-c82dbbaafd5f" providerId="ADAL" clId="{7CD428B9-A6FB-4AE1-9E17-165E06B1D93B}" dt="2024-09-04T03:27:12.563" v="52" actId="20577"/>
          <ac:spMkLst>
            <pc:docMk/>
            <pc:sldMk cId="2340944189" sldId="2147375607"/>
            <ac:spMk id="12" creationId="{E53E5C3F-4D2B-B85F-E592-E58E032C664C}"/>
          </ac:spMkLst>
        </pc:spChg>
        <pc:picChg chg="add mod">
          <ac:chgData name="Dhruw, Kabir SBOBNG-PTIV/LC" userId="b937d6d8-898d-4cbe-9fd6-c82dbbaafd5f" providerId="ADAL" clId="{7CD428B9-A6FB-4AE1-9E17-165E06B1D93B}" dt="2024-09-04T03:28:00.794" v="57" actId="962"/>
          <ac:picMkLst>
            <pc:docMk/>
            <pc:sldMk cId="2340944189" sldId="2147375607"/>
            <ac:picMk id="6" creationId="{9D6EC348-F4AC-D87E-FE28-FAD3879E3758}"/>
          </ac:picMkLst>
        </pc:picChg>
      </pc:sldChg>
      <pc:sldChg chg="addSp modSp mod">
        <pc:chgData name="Dhruw, Kabir SBOBNG-PTIV/LC" userId="b937d6d8-898d-4cbe-9fd6-c82dbbaafd5f" providerId="ADAL" clId="{7CD428B9-A6FB-4AE1-9E17-165E06B1D93B}" dt="2024-09-04T03:29:59.237" v="62" actId="27614"/>
        <pc:sldMkLst>
          <pc:docMk/>
          <pc:sldMk cId="3159148252" sldId="2147375608"/>
        </pc:sldMkLst>
        <pc:spChg chg="mod">
          <ac:chgData name="Dhruw, Kabir SBOBNG-PTIV/LC" userId="b937d6d8-898d-4cbe-9fd6-c82dbbaafd5f" providerId="ADAL" clId="{7CD428B9-A6FB-4AE1-9E17-165E06B1D93B}" dt="2024-09-04T03:28:06.218" v="59" actId="20577"/>
          <ac:spMkLst>
            <pc:docMk/>
            <pc:sldMk cId="3159148252" sldId="2147375608"/>
            <ac:spMk id="12" creationId="{E53E5C3F-4D2B-B85F-E592-E58E032C664C}"/>
          </ac:spMkLst>
        </pc:spChg>
        <pc:picChg chg="add mod">
          <ac:chgData name="Dhruw, Kabir SBOBNG-PTIV/LC" userId="b937d6d8-898d-4cbe-9fd6-c82dbbaafd5f" providerId="ADAL" clId="{7CD428B9-A6FB-4AE1-9E17-165E06B1D93B}" dt="2024-09-04T03:29:59.237" v="62" actId="27614"/>
          <ac:picMkLst>
            <pc:docMk/>
            <pc:sldMk cId="3159148252" sldId="2147375608"/>
            <ac:picMk id="6" creationId="{DAD5B57C-A853-7630-2294-A0A39F8F53F0}"/>
          </ac:picMkLst>
        </pc:picChg>
      </pc:sldChg>
      <pc:sldChg chg="addSp modSp mod">
        <pc:chgData name="Dhruw, Kabir SBOBNG-PTIV/LC" userId="b937d6d8-898d-4cbe-9fd6-c82dbbaafd5f" providerId="ADAL" clId="{7CD428B9-A6FB-4AE1-9E17-165E06B1D93B}" dt="2024-09-04T03:30:59.021" v="66" actId="27614"/>
        <pc:sldMkLst>
          <pc:docMk/>
          <pc:sldMk cId="3070204084" sldId="2147375609"/>
        </pc:sldMkLst>
        <pc:spChg chg="mod">
          <ac:chgData name="Dhruw, Kabir SBOBNG-PTIV/LC" userId="b937d6d8-898d-4cbe-9fd6-c82dbbaafd5f" providerId="ADAL" clId="{7CD428B9-A6FB-4AE1-9E17-165E06B1D93B}" dt="2024-09-04T03:30:01.807" v="63" actId="20577"/>
          <ac:spMkLst>
            <pc:docMk/>
            <pc:sldMk cId="3070204084" sldId="2147375609"/>
            <ac:spMk id="12" creationId="{E53E5C3F-4D2B-B85F-E592-E58E032C664C}"/>
          </ac:spMkLst>
        </pc:spChg>
        <pc:picChg chg="add mod">
          <ac:chgData name="Dhruw, Kabir SBOBNG-PTIV/LC" userId="b937d6d8-898d-4cbe-9fd6-c82dbbaafd5f" providerId="ADAL" clId="{7CD428B9-A6FB-4AE1-9E17-165E06B1D93B}" dt="2024-09-04T03:30:59.021" v="66" actId="27614"/>
          <ac:picMkLst>
            <pc:docMk/>
            <pc:sldMk cId="3070204084" sldId="2147375609"/>
            <ac:picMk id="6" creationId="{F3B66E1F-6365-1F7D-BE6B-C77A3676057E}"/>
          </ac:picMkLst>
        </pc:picChg>
      </pc:sldChg>
      <pc:sldChg chg="addSp modSp mod">
        <pc:chgData name="Dhruw, Kabir SBOBNG-PTIV/LC" userId="b937d6d8-898d-4cbe-9fd6-c82dbbaafd5f" providerId="ADAL" clId="{7CD428B9-A6FB-4AE1-9E17-165E06B1D93B}" dt="2024-08-31T06:15:51.787" v="29" actId="962"/>
        <pc:sldMkLst>
          <pc:docMk/>
          <pc:sldMk cId="1148838763" sldId="2147375613"/>
        </pc:sldMkLst>
        <pc:spChg chg="mod">
          <ac:chgData name="Dhruw, Kabir SBOBNG-PTIV/LC" userId="b937d6d8-898d-4cbe-9fd6-c82dbbaafd5f" providerId="ADAL" clId="{7CD428B9-A6FB-4AE1-9E17-165E06B1D93B}" dt="2024-08-31T06:15:23.591" v="24" actId="20577"/>
          <ac:spMkLst>
            <pc:docMk/>
            <pc:sldMk cId="1148838763" sldId="2147375613"/>
            <ac:spMk id="12" creationId="{5A873A1A-E63F-91AE-7D43-ED0F86870147}"/>
          </ac:spMkLst>
        </pc:spChg>
        <pc:picChg chg="add mod">
          <ac:chgData name="Dhruw, Kabir SBOBNG-PTIV/LC" userId="b937d6d8-898d-4cbe-9fd6-c82dbbaafd5f" providerId="ADAL" clId="{7CD428B9-A6FB-4AE1-9E17-165E06B1D93B}" dt="2024-08-31T06:15:51.787" v="29" actId="962"/>
          <ac:picMkLst>
            <pc:docMk/>
            <pc:sldMk cId="1148838763" sldId="2147375613"/>
            <ac:picMk id="6" creationId="{B843856E-5A86-5ED8-ECC4-8DBEDF5F271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4/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4/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Kabir Dhruw</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n Shell, everyone encourages their team members to share their thoughts, idea, and concerns without fear of judgement.</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Effective teamwork can lead to higher productivity, better problem solving and increased innovation. Clear communication and effective feedback can help team work more efficiently and avoid misunderstand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holding gears&#10;&#10;Description automatically generated">
            <a:extLst>
              <a:ext uri="{FF2B5EF4-FFF2-40B4-BE49-F238E27FC236}">
                <a16:creationId xmlns:a16="http://schemas.microsoft.com/office/drawing/2014/main" id="{D312A917-7B74-8A70-0956-E55184C9B3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18727" y="2370350"/>
            <a:ext cx="4514850" cy="3057525"/>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oft skills are hard and needs continuous practice.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icons with text&#10;&#10;Description automatically generated">
            <a:extLst>
              <a:ext uri="{FF2B5EF4-FFF2-40B4-BE49-F238E27FC236}">
                <a16:creationId xmlns:a16="http://schemas.microsoft.com/office/drawing/2014/main" id="{9D6EC348-F4AC-D87E-FE28-FAD3879E375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88209" y="2184613"/>
            <a:ext cx="5235619" cy="3429000"/>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thing specific. Trust building and stakeholder management is a complex topic. According to me it will curate with more experience and tim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black and white diagram&#10;&#10;Description automatically generated">
            <a:extLst>
              <a:ext uri="{FF2B5EF4-FFF2-40B4-BE49-F238E27FC236}">
                <a16:creationId xmlns:a16="http://schemas.microsoft.com/office/drawing/2014/main" id="{DAD5B57C-A853-7630-2294-A0A39F8F53F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66669" y="2040965"/>
            <a:ext cx="3524742" cy="3896269"/>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Understanding team requirement and their expectations clearly is the key.</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diagram of a diagram&#10;&#10;Description automatically generated">
            <a:extLst>
              <a:ext uri="{FF2B5EF4-FFF2-40B4-BE49-F238E27FC236}">
                <a16:creationId xmlns:a16="http://schemas.microsoft.com/office/drawing/2014/main" id="{F3B66E1F-6365-1F7D-BE6B-C77A367605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32889" y="2079838"/>
            <a:ext cx="6486525" cy="3638550"/>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Foundational software practices are very important and it’s going to be implemented in every part of technical work expected from m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 planning to cultivate these skills in my professional, as well as personal life as it will surely elevate my perspective and build a strong base.</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et my team members and had team dinner with them, followed basic professional etiquettes and followed several topics covered in my soft skills class which helped me talk to everyone professionally</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pPr marL="0" indent="0">
              <a:buFont typeface="Arial" panose="020B0604020202020204" pitchFamily="34" charset="0"/>
              <a:buNone/>
            </a:pPr>
            <a:endParaRPr lang="en-US" sz="2000" dirty="0"/>
          </a:p>
          <a:p>
            <a:r>
              <a:rPr lang="en-US" sz="2000" dirty="0"/>
              <a:t>During soft skills session we used to do 2 team activity (skit, presentation and group discussion) but during our technical session the frequency of activity has increased.</a:t>
            </a:r>
          </a:p>
          <a:p>
            <a:r>
              <a:rPr lang="en-US" sz="2000" dirty="0"/>
              <a:t>Played Chinese Wisper and learnt the importance of clear communic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in a room with a large screen&#10;&#10;Description automatically generated">
            <a:extLst>
              <a:ext uri="{FF2B5EF4-FFF2-40B4-BE49-F238E27FC236}">
                <a16:creationId xmlns:a16="http://schemas.microsoft.com/office/drawing/2014/main" id="{B843856E-5A86-5ED8-ECC4-8DBEDF5F271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361653" y="2716063"/>
            <a:ext cx="3429000" cy="257175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Good soft skills and good professional etiquettes are essentials to build strong relationships with colleagues, clients and stakeholders. </a:t>
            </a:r>
          </a:p>
          <a:p>
            <a:pPr>
              <a:lnSpc>
                <a:spcPct val="100000"/>
              </a:lnSpc>
            </a:pPr>
            <a:endParaRPr lang="en-US" sz="2000" dirty="0"/>
          </a:p>
          <a:p>
            <a:pPr>
              <a:lnSpc>
                <a:spcPct val="100000"/>
              </a:lnSpc>
            </a:pPr>
            <a:r>
              <a:rPr lang="en-US" sz="1800" dirty="0"/>
              <a:t>DevOps, Cloud and basic software development principles and practices.</a:t>
            </a:r>
          </a:p>
          <a:p>
            <a:pPr>
              <a:lnSpc>
                <a:spcPct val="100000"/>
              </a:lnSpc>
            </a:pPr>
            <a:endParaRPr lang="en-US" sz="1800" dirty="0"/>
          </a:p>
          <a:p>
            <a:pPr>
              <a:lnSpc>
                <a:spcPct val="100000"/>
              </a:lnSpc>
            </a:pPr>
            <a:r>
              <a:rPr lang="en-US" sz="1800" dirty="0"/>
              <a:t>First week was more about how to interact with others and second week is about putting my technical skills in practice and get the work done.</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Chase excellence, Not perfection.</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utting their hands together&#10;&#10;Description automatically generated">
            <a:extLst>
              <a:ext uri="{FF2B5EF4-FFF2-40B4-BE49-F238E27FC236}">
                <a16:creationId xmlns:a16="http://schemas.microsoft.com/office/drawing/2014/main" id="{4A3D4E05-3D4B-8744-B7E9-1D94B9A478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4940" y="2536358"/>
            <a:ext cx="4162425" cy="26670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Soft skills often trump hard skill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is transition from college to corporate is not that hard to do, All we need to take care since beginning is to keep a growth mindset and communicate as much possible. </a:t>
            </a:r>
          </a:p>
          <a:p>
            <a:r>
              <a:rPr lang="en-US" sz="2000" dirty="0"/>
              <a:t>Grooming and business etiquettes (Meeting, telephonic, chat) are non-negotiable. Writing professional emails are a part of our daily life so we should improve the quality of mail that we write.</a:t>
            </a:r>
          </a:p>
          <a:p>
            <a:r>
              <a:rPr lang="en-US" sz="2000" dirty="0"/>
              <a:t>Energy sector is not a one-man sector. We need to effectively communicate with the stakeholders to get the job done. And professionalism in a job is non-negotiable.</a:t>
            </a:r>
          </a:p>
          <a:p>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iece of paper with writing on it&#10;&#10;Description automatically generated">
            <a:extLst>
              <a:ext uri="{FF2B5EF4-FFF2-40B4-BE49-F238E27FC236}">
                <a16:creationId xmlns:a16="http://schemas.microsoft.com/office/drawing/2014/main" id="{6858F8FC-974D-5DF8-44AE-06F9793C8B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038031" y="2237954"/>
            <a:ext cx="4076241" cy="3322320"/>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Effective stakeholder management ensures </a:t>
            </a:r>
            <a:br>
              <a:rPr lang="en-US" b="1" dirty="0">
                <a:effectLst>
                  <a:outerShdw blurRad="38100" dist="38100" dir="2700000" algn="tl">
                    <a:srgbClr val="000000">
                      <a:alpha val="43137"/>
                    </a:srgbClr>
                  </a:outerShdw>
                </a:effectLst>
                <a:latin typeface="+mn-lt"/>
                <a:cs typeface="+mj-cs"/>
              </a:rPr>
            </a:br>
            <a:r>
              <a:rPr lang="en-US" b="1" dirty="0">
                <a:effectLst>
                  <a:outerShdw blurRad="38100" dist="38100" dir="2700000" algn="tl">
                    <a:srgbClr val="000000">
                      <a:alpha val="43137"/>
                    </a:srgbClr>
                  </a:outerShdw>
                </a:effectLst>
                <a:latin typeface="+mn-lt"/>
                <a:cs typeface="+mj-cs"/>
              </a:rPr>
              <a:t>		   project succes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ild strong relationship with stakeholders. This fosters trust and collaboration, leading to better project outcomes.</a:t>
            </a:r>
          </a:p>
          <a:p>
            <a:r>
              <a:rPr lang="en-US" sz="2000" dirty="0"/>
              <a:t>Proactively manage stakeholder expectations. This prevents misunderstandings and ensure everyone is on the same page.</a:t>
            </a:r>
          </a:p>
          <a:p>
            <a:r>
              <a:rPr lang="en-US" sz="2000" dirty="0"/>
              <a:t>In energy sector, effective stakeholder management is crucial for balancing environmental concerns with economic needs, managing supply chain risks and addressing public concern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hand holding a piece of paper with writing&#10;&#10;Description automatically generated">
            <a:extLst>
              <a:ext uri="{FF2B5EF4-FFF2-40B4-BE49-F238E27FC236}">
                <a16:creationId xmlns:a16="http://schemas.microsoft.com/office/drawing/2014/main" id="{BE907506-5494-B495-E60C-0D93B4CAB4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063625" y="2364125"/>
            <a:ext cx="4025053" cy="301879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Effective teamwork is key to project succes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Effective teamwork results in quick solution, Improved productivity, Distribution of workload, Diversity of ideas and helps with the motivation of the team members.</a:t>
            </a:r>
          </a:p>
          <a:p>
            <a:r>
              <a:rPr lang="en-US" sz="2000" dirty="0"/>
              <a:t>Working in teams make an individual’s task much simpler as we experienced during an activity in the class.</a:t>
            </a:r>
          </a:p>
          <a:p>
            <a:r>
              <a:rPr lang="en-US" sz="2000" dirty="0"/>
              <a:t>While solving complex technical challenges, while ensuring safety and compliance, while addressing large-scale projects we can incorporate teamwork for smooth operation.</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iece of paper with blue ink writing&#10;&#10;Description automatically generated">
            <a:extLst>
              <a:ext uri="{FF2B5EF4-FFF2-40B4-BE49-F238E27FC236}">
                <a16:creationId xmlns:a16="http://schemas.microsoft.com/office/drawing/2014/main" id="{F3493A1B-AE08-0EDA-1ABE-21F31FEB06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6918554" y="2298281"/>
            <a:ext cx="4076242" cy="3201670"/>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Professional behavior, growth mindset and basic employee etiquette can be implemented through training and company culture initiatives.</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Following these things will improve morale, productivity, and overall performance. They also enhance the company’s reputation and attract and retain top talent.</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standing in a room&#10;&#10;Description automatically generated">
            <a:extLst>
              <a:ext uri="{FF2B5EF4-FFF2-40B4-BE49-F238E27FC236}">
                <a16:creationId xmlns:a16="http://schemas.microsoft.com/office/drawing/2014/main" id="{1CE31728-1DAF-DAD1-0C8D-B93E9FB13E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05415" y="2344766"/>
            <a:ext cx="4141473" cy="3108693"/>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allows its employees to be open to all other employees, let them be senior or junior. Also, Shell gives at most important to stakeholder’s concerns and show that their input is valuable. </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Building trust with stakeholders can lead to greater support for project and initiatives. A reputation for transparency and responsiveness can improve a company’s ima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holding signs&#10;&#10;Description automatically generated">
            <a:extLst>
              <a:ext uri="{FF2B5EF4-FFF2-40B4-BE49-F238E27FC236}">
                <a16:creationId xmlns:a16="http://schemas.microsoft.com/office/drawing/2014/main" id="{29E78300-98C3-E163-6145-FB5C9F74B18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27679" y="2150640"/>
            <a:ext cx="3496945" cy="3496945"/>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733</TotalTime>
  <Words>772</Words>
  <Application>Microsoft Office PowerPoint</Application>
  <PresentationFormat>Widescreen</PresentationFormat>
  <Paragraphs>78</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Soft skills often trump hard skills</vt:lpstr>
      <vt:lpstr>Learning 2 | Effective stakeholder management ensures       project success</vt:lpstr>
      <vt:lpstr>Learning 3 | Effective teamwork is key to project succes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Dhruw, Kabir SBOBNG-PTIV/LC</cp:lastModifiedBy>
  <cp:revision>501</cp:revision>
  <dcterms:created xsi:type="dcterms:W3CDTF">2022-01-18T12:35:56Z</dcterms:created>
  <dcterms:modified xsi:type="dcterms:W3CDTF">2024-09-04T03:3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